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1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B5-4E01-A25F-84ED340537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B5-4E01-A25F-84ED340537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B5-4E01-A25F-84ED34053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86200640"/>
        <c:axId val="286198240"/>
      </c:barChart>
      <c:catAx>
        <c:axId val="286200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image" Target="../media/image40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F57BF-2289-0D9E-57E9-5D4077E02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A42EF33-84ED-0226-32A6-6A27D42E3D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2EF33-84ED-0226-32A6-6A27D42E3D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D88AB6B6-F2EF-C048-F817-3A1B61F35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Waterfall / 100% Stack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AF57EA-4C4D-F61C-686A-792350D24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21A10340-DAB9-1F37-37E6-7E8ADC4A11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DC887FB-126D-3E0B-55E5-25FDE06C41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720B1BDF-DB33-7AD4-70BD-F29B4716D8B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0" name="Chart Placeholder 5">
                <a:extLst>
                  <a:ext uri="{FF2B5EF4-FFF2-40B4-BE49-F238E27FC236}">
                    <a16:creationId xmlns:a16="http://schemas.microsoft.com/office/drawing/2014/main" id="{358A34E7-2669-90AE-7378-6E9B6EF14B89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10" name="Chart Placeholder 5">
                <a:extLst>
                  <a:ext uri="{FF2B5EF4-FFF2-40B4-BE49-F238E27FC236}">
                    <a16:creationId xmlns:a16="http://schemas.microsoft.com/office/drawing/2014/main" id="{358A34E7-2669-90AE-7378-6E9B6EF14B8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5" name="Chart Placeholder 6">
            <a:extLst>
              <a:ext uri="{FF2B5EF4-FFF2-40B4-BE49-F238E27FC236}">
                <a16:creationId xmlns:a16="http://schemas.microsoft.com/office/drawing/2014/main" id="{31001E2C-FFB6-0EC1-052E-A08977A27F59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30516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8</TotalTime>
  <Words>24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Waterfall / 100% Stack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91</cp:revision>
  <dcterms:created xsi:type="dcterms:W3CDTF">2025-07-09T10:57:17Z</dcterms:created>
  <dcterms:modified xsi:type="dcterms:W3CDTF">2025-10-22T10:13:18Z</dcterms:modified>
  <cp:category/>
</cp:coreProperties>
</file>